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7"/>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FDD33F44-7089-4C2B-BF0C-A4F0E5B6F03A}">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0.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2.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4.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6.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2.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6.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8.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0.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2.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4.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6.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8.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2.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4.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8.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0570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76998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58489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84395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05593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379312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0153706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954294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03416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2100926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48387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08762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9731636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78043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63420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44709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233776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5017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22743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55706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11032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81176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1298</Words>
  <Application>Microsoft Office PowerPoint</Application>
  <PresentationFormat>On-screen Show (16:9)</PresentationFormat>
  <Paragraphs>176</Paragraphs>
  <Slides>22</Slides>
  <Notes>2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8-29T13:0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